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D$2:$D$211</c:f>
              <c:numCache>
                <c:formatCode>#,##0</c:formatCode>
                <c:ptCount val="21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8</c:v>
                </c:pt>
                <c:pt idx="178">
                  <c:v>720</c:v>
                </c:pt>
                <c:pt idx="179">
                  <c:v>714</c:v>
                </c:pt>
                <c:pt idx="180">
                  <c:v>741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6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2</c:v>
                </c:pt>
                <c:pt idx="204">
                  <c:v>922</c:v>
                </c:pt>
                <c:pt idx="205">
                  <c:v>872</c:v>
                </c:pt>
                <c:pt idx="206">
                  <c:v>861</c:v>
                </c:pt>
                <c:pt idx="207">
                  <c:v>865</c:v>
                </c:pt>
                <c:pt idx="208">
                  <c:v>834</c:v>
                </c:pt>
                <c:pt idx="209">
                  <c:v>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1.7018871804808072E-2"/>
                  <c:y val="1.347171364440616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0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4A4-4779-8628-FCCB8697E4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B$2:$B$211</c:f>
              <c:numCache>
                <c:formatCode>#,##0</c:formatCode>
                <c:ptCount val="21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8</c:v>
                </c:pt>
                <c:pt idx="206">
                  <c:v>383</c:v>
                </c:pt>
                <c:pt idx="207">
                  <c:v>346</c:v>
                </c:pt>
                <c:pt idx="208">
                  <c:v>364</c:v>
                </c:pt>
                <c:pt idx="209">
                  <c:v>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C$2:$C$211</c:f>
              <c:numCache>
                <c:formatCode>General</c:formatCode>
                <c:ptCount val="2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D$2:$D$211</c:f>
              <c:numCache>
                <c:formatCode>#,##0</c:formatCode>
                <c:ptCount val="21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1</c:v>
                </c:pt>
                <c:pt idx="170">
                  <c:v>2762</c:v>
                </c:pt>
                <c:pt idx="171">
                  <c:v>2680</c:v>
                </c:pt>
                <c:pt idx="172">
                  <c:v>2685</c:v>
                </c:pt>
                <c:pt idx="173">
                  <c:v>2808</c:v>
                </c:pt>
                <c:pt idx="174">
                  <c:v>3001</c:v>
                </c:pt>
                <c:pt idx="175">
                  <c:v>3021</c:v>
                </c:pt>
                <c:pt idx="176">
                  <c:v>3034</c:v>
                </c:pt>
                <c:pt idx="177">
                  <c:v>3047</c:v>
                </c:pt>
                <c:pt idx="178">
                  <c:v>3131</c:v>
                </c:pt>
                <c:pt idx="179">
                  <c:v>3238</c:v>
                </c:pt>
                <c:pt idx="180">
                  <c:v>3379</c:v>
                </c:pt>
                <c:pt idx="181">
                  <c:v>3585</c:v>
                </c:pt>
                <c:pt idx="182">
                  <c:v>3629</c:v>
                </c:pt>
                <c:pt idx="183">
                  <c:v>3603</c:v>
                </c:pt>
                <c:pt idx="184">
                  <c:v>3687</c:v>
                </c:pt>
                <c:pt idx="185">
                  <c:v>3709</c:v>
                </c:pt>
                <c:pt idx="186">
                  <c:v>3792</c:v>
                </c:pt>
                <c:pt idx="187">
                  <c:v>3879</c:v>
                </c:pt>
                <c:pt idx="188">
                  <c:v>3925</c:v>
                </c:pt>
                <c:pt idx="189">
                  <c:v>3943</c:v>
                </c:pt>
                <c:pt idx="190">
                  <c:v>3952</c:v>
                </c:pt>
                <c:pt idx="191">
                  <c:v>3927</c:v>
                </c:pt>
                <c:pt idx="192">
                  <c:v>3860</c:v>
                </c:pt>
                <c:pt idx="193">
                  <c:v>3970</c:v>
                </c:pt>
                <c:pt idx="194">
                  <c:v>4039</c:v>
                </c:pt>
                <c:pt idx="195">
                  <c:v>4187</c:v>
                </c:pt>
                <c:pt idx="196">
                  <c:v>4107</c:v>
                </c:pt>
                <c:pt idx="197">
                  <c:v>4032</c:v>
                </c:pt>
                <c:pt idx="198">
                  <c:v>4008</c:v>
                </c:pt>
                <c:pt idx="199">
                  <c:v>3797</c:v>
                </c:pt>
                <c:pt idx="200">
                  <c:v>3723</c:v>
                </c:pt>
                <c:pt idx="201">
                  <c:v>3803</c:v>
                </c:pt>
                <c:pt idx="202">
                  <c:v>3827</c:v>
                </c:pt>
                <c:pt idx="203">
                  <c:v>3691</c:v>
                </c:pt>
                <c:pt idx="204">
                  <c:v>3546</c:v>
                </c:pt>
                <c:pt idx="205">
                  <c:v>3331</c:v>
                </c:pt>
                <c:pt idx="206">
                  <c:v>3365</c:v>
                </c:pt>
                <c:pt idx="207">
                  <c:v>3325</c:v>
                </c:pt>
                <c:pt idx="208">
                  <c:v>3236</c:v>
                </c:pt>
                <c:pt idx="209">
                  <c:v>3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-2.5757087677870098E-2"/>
                  <c:y val="-0.1032831379404472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 62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426-4211-B96F-F5FEAD5E2B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B$2:$B$211</c:f>
              <c:numCache>
                <c:formatCode>#,##0</c:formatCode>
                <c:ptCount val="21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5577</c:v>
                </c:pt>
                <c:pt idx="206">
                  <c:v>5461</c:v>
                </c:pt>
                <c:pt idx="207">
                  <c:v>5550</c:v>
                </c:pt>
                <c:pt idx="208">
                  <c:v>5584</c:v>
                </c:pt>
                <c:pt idx="209">
                  <c:v>56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C$2:$C$211</c:f>
              <c:numCache>
                <c:formatCode>General</c:formatCode>
                <c:ptCount val="2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D$2:$D$211</c:f>
              <c:numCache>
                <c:formatCode>#,##0</c:formatCode>
                <c:ptCount val="21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0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71</c:v>
                </c:pt>
                <c:pt idx="173">
                  <c:v>1282</c:v>
                </c:pt>
                <c:pt idx="174">
                  <c:v>1364</c:v>
                </c:pt>
                <c:pt idx="175">
                  <c:v>1393</c:v>
                </c:pt>
                <c:pt idx="176">
                  <c:v>1410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4</c:v>
                </c:pt>
                <c:pt idx="181">
                  <c:v>1587</c:v>
                </c:pt>
                <c:pt idx="182">
                  <c:v>1599</c:v>
                </c:pt>
                <c:pt idx="183">
                  <c:v>1625</c:v>
                </c:pt>
                <c:pt idx="184">
                  <c:v>1650</c:v>
                </c:pt>
                <c:pt idx="185">
                  <c:v>1670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9</c:v>
                </c:pt>
                <c:pt idx="191">
                  <c:v>1820</c:v>
                </c:pt>
                <c:pt idx="192">
                  <c:v>1835</c:v>
                </c:pt>
                <c:pt idx="193">
                  <c:v>1784</c:v>
                </c:pt>
                <c:pt idx="194">
                  <c:v>1831</c:v>
                </c:pt>
                <c:pt idx="195">
                  <c:v>1889</c:v>
                </c:pt>
                <c:pt idx="196">
                  <c:v>1894</c:v>
                </c:pt>
                <c:pt idx="197">
                  <c:v>1865</c:v>
                </c:pt>
                <c:pt idx="198">
                  <c:v>1863</c:v>
                </c:pt>
                <c:pt idx="199">
                  <c:v>1823</c:v>
                </c:pt>
                <c:pt idx="200">
                  <c:v>1788</c:v>
                </c:pt>
                <c:pt idx="201">
                  <c:v>1811</c:v>
                </c:pt>
                <c:pt idx="202">
                  <c:v>1826</c:v>
                </c:pt>
                <c:pt idx="203">
                  <c:v>1782</c:v>
                </c:pt>
                <c:pt idx="204">
                  <c:v>1748</c:v>
                </c:pt>
                <c:pt idx="205">
                  <c:v>1648</c:v>
                </c:pt>
                <c:pt idx="206">
                  <c:v>1664</c:v>
                </c:pt>
                <c:pt idx="207">
                  <c:v>1670</c:v>
                </c:pt>
                <c:pt idx="208">
                  <c:v>1617</c:v>
                </c:pt>
                <c:pt idx="209">
                  <c:v>1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76F-45D2-9A7C-7B20A9C817DA}"/>
                </c:ext>
              </c:extLst>
            </c:dLbl>
            <c:dLbl>
              <c:idx val="18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76F-45D2-9A7C-7B20A9C817DA}"/>
                </c:ext>
              </c:extLst>
            </c:dLbl>
            <c:dLbl>
              <c:idx val="204"/>
              <c:layout>
                <c:manualLayout>
                  <c:x val="-5.1804621114972096E-2"/>
                  <c:y val="-0.3143399850361438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 12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76F-45D2-9A7C-7B20A9C817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B$2:$B$211</c:f>
              <c:numCache>
                <c:formatCode>#,##0</c:formatCode>
                <c:ptCount val="21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1068</c:v>
                </c:pt>
                <c:pt idx="206">
                  <c:v>1080</c:v>
                </c:pt>
                <c:pt idx="207">
                  <c:v>1032</c:v>
                </c:pt>
                <c:pt idx="208">
                  <c:v>1073</c:v>
                </c:pt>
                <c:pt idx="209">
                  <c:v>1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C$2:$C$211</c:f>
              <c:numCache>
                <c:formatCode>General</c:formatCode>
                <c:ptCount val="2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D$2:$D$211</c:f>
              <c:numCache>
                <c:formatCode>#,##0</c:formatCode>
                <c:ptCount val="2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 formatCode="General">
                  <c:v>29</c:v>
                </c:pt>
                <c:pt idx="206" formatCode="General">
                  <c:v>27</c:v>
                </c:pt>
                <c:pt idx="207" formatCode="General">
                  <c:v>29</c:v>
                </c:pt>
                <c:pt idx="208" formatCode="General">
                  <c:v>29</c:v>
                </c:pt>
                <c:pt idx="209" formatCode="General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0"/>
                  <c:y val="-0.1077737091552492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122E-499E-A8B7-2F9BE13ADE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B$2:$B$211</c:f>
              <c:numCache>
                <c:formatCode>#,##0</c:formatCode>
                <c:ptCount val="21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 formatCode="General">
                  <c:v>28</c:v>
                </c:pt>
                <c:pt idx="206" formatCode="General">
                  <c:v>27</c:v>
                </c:pt>
                <c:pt idx="207" formatCode="General">
                  <c:v>28</c:v>
                </c:pt>
                <c:pt idx="208" formatCode="General">
                  <c:v>30</c:v>
                </c:pt>
                <c:pt idx="209" formatCode="General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1</c:f>
              <c:numCache>
                <c:formatCode>m/d/yyyy</c:formatCode>
                <c:ptCount val="21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</c:numCache>
            </c:numRef>
          </c:cat>
          <c:val>
            <c:numRef>
              <c:f>Sheet1!$C$2:$C$211</c:f>
              <c:numCache>
                <c:formatCode>General</c:formatCode>
                <c:ptCount val="2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1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1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463013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297477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4925850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01154111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38666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1CC2D9D8-E40E-4511-ACEC-155C504D6F73}"/>
              </a:ext>
            </a:extLst>
          </p:cNvPr>
          <p:cNvSpPr txBox="1"/>
          <p:nvPr/>
        </p:nvSpPr>
        <p:spPr>
          <a:xfrm>
            <a:off x="199580" y="6459955"/>
            <a:ext cx="1978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* Včetně </a:t>
            </a:r>
            <a:r>
              <a:rPr lang="cs-CZ" sz="1600" dirty="0" err="1"/>
              <a:t>reprofilizace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64018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26</TotalTime>
  <Words>1049</Words>
  <Application>Microsoft Office PowerPoint</Application>
  <PresentationFormat>Širokoúhlá obrazovka</PresentationFormat>
  <Paragraphs>454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577</cp:revision>
  <dcterms:created xsi:type="dcterms:W3CDTF">2020-08-08T14:25:07Z</dcterms:created>
  <dcterms:modified xsi:type="dcterms:W3CDTF">2021-04-01T03:42:42Z</dcterms:modified>
</cp:coreProperties>
</file>